
<file path=[Content_Types].xml><?xml version="1.0" encoding="utf-8"?>
<Types xmlns="http://schemas.openxmlformats.org/package/2006/content-types">
  <Default ContentType="image/jpeg" Extension="jpeg"/>
  <Default ContentType="image/png" Extension="png"/>
  <Default ContentType="application/vnd.openxmlformats-package.relationships+xml" Extension="rels"/>
  <Default ContentType="application/vnd.openxmlformats-officedocument.spreadsheetml.sheet" Extension="xlsx"/>
  <Default ContentType="application/xml" Extension="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4" Type="http://schemas.openxmlformats.org/officeDocument/2006/relationships/custom-properties" Target="docProps/custom.xml"/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95" r:id="rId6"/>
    <p:sldId id="297" r:id="rId7"/>
    <p:sldId id="279" r:id="rId8"/>
    <p:sldId id="280" r:id="rId9"/>
    <p:sldId id="281" r:id="rId10"/>
    <p:sldId id="283" r:id="rId11"/>
    <p:sldId id="285" r:id="rId12"/>
    <p:sldId id="298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hat is QPT?" id="{05DF59E0-B0D4-4789-B989-8745D3A2DBA0}">
          <p14:sldIdLst>
            <p14:sldId id="256"/>
          </p14:sldIdLst>
        </p14:section>
        <p14:section name="Creating Pages" id="{BC397886-13C6-472E-9777-2B3365080EDF}">
          <p14:sldIdLst>
            <p14:sldId id="295"/>
          </p14:sldIdLst>
        </p14:section>
        <p14:section name="Formatting Tools" id="{E4251C0E-C332-4913-91DB-056AEEA65BEF}">
          <p14:sldIdLst>
            <p14:sldId id="297"/>
            <p14:sldId id="279"/>
            <p14:sldId id="280"/>
            <p14:sldId id="281"/>
            <p14:sldId id="283"/>
            <p14:sldId id="285"/>
          </p14:sldIdLst>
        </p14:section>
        <p14:section name="Collaboration Tools" id="{BD50405D-A4DA-45BC-9EEA-075E514CD1D3}">
          <p14:sldIdLst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02">
          <p15:clr>
            <a:srgbClr val="A4A3A4"/>
          </p15:clr>
        </p15:guide>
        <p15:guide id="2" orient="horz" pos="4043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orient="horz" pos="4233">
          <p15:clr>
            <a:srgbClr val="A4A3A4"/>
          </p15:clr>
        </p15:guide>
        <p15:guide id="5" orient="horz" pos="801">
          <p15:clr>
            <a:srgbClr val="A4A3A4"/>
          </p15:clr>
        </p15:guide>
        <p15:guide id="6" pos="2880">
          <p15:clr>
            <a:srgbClr val="A4A3A4"/>
          </p15:clr>
        </p15:guide>
        <p15:guide id="7" pos="288">
          <p15:clr>
            <a:srgbClr val="A4A3A4"/>
          </p15:clr>
        </p15:guide>
        <p15:guide id="8" pos="5484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884">
          <p15:clr>
            <a:srgbClr val="A4A3A4"/>
          </p15:clr>
        </p15:guide>
        <p15:guide id="12" pos="1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yJ" initials="J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7178"/>
    <a:srgbClr val="42545B"/>
    <a:srgbClr val="5B6E74"/>
    <a:srgbClr val="63787D"/>
    <a:srgbClr val="999977"/>
    <a:srgbClr val="778888"/>
    <a:srgbClr val="557799"/>
    <a:srgbClr val="000000"/>
    <a:srgbClr val="FF0000"/>
    <a:srgbClr val="EDCA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84720" autoAdjust="0"/>
  </p:normalViewPr>
  <p:slideViewPr>
    <p:cSldViewPr snapToGrid="0" showGuides="1">
      <p:cViewPr varScale="1">
        <p:scale>
          <a:sx n="87" d="100"/>
          <a:sy n="87" d="100"/>
        </p:scale>
        <p:origin x="1224" y="62"/>
      </p:cViewPr>
      <p:guideLst>
        <p:guide orient="horz" pos="602"/>
        <p:guide orient="horz" pos="4043"/>
        <p:guide orient="horz" pos="2387"/>
        <p:guide orient="horz" pos="4233"/>
        <p:guide orient="horz" pos="801"/>
        <p:guide pos="2880"/>
        <p:guide pos="288"/>
        <p:guide pos="5484"/>
        <p:guide pos="2824"/>
        <p:guide pos="2936"/>
        <p:guide pos="3884"/>
        <p:guide pos="1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-2712" y="-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'1.0' encoding='UTF-8' standalone='yes'?>
<Relationships xmlns="http://schemas.openxmlformats.org/package/2006/relationships"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4" Type="http://schemas.openxmlformats.org/officeDocument/2006/relationships/notesMaster" Target="notesMasters/notesMaster1.xml"/><Relationship Id="rId17" Type="http://schemas.openxmlformats.org/officeDocument/2006/relationships/commentAuthors" Target="commentAuthors.xml"/><Relationship Id="rId16" Type="http://schemas.openxmlformats.org/officeDocument/2006/relationships/tags" Target="tags/tag1.xml"/><Relationship Id="rId15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" Type="http://schemas.openxmlformats.org/officeDocument/2006/relationships/customXml" Target="../customXml/item1.xml"/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3" Type="http://schemas.openxmlformats.org/officeDocument/2006/relationships/customXml" Target="../customXml/item3.xml"/><Relationship Id="rId2" Type="http://schemas.openxmlformats.org/officeDocument/2006/relationships/customXml" Target="../customXml/item2.xml"/><Relationship Id="rId20" Type="http://schemas.openxmlformats.org/officeDocument/2006/relationships/theme" Target="theme/theme1.xml"/><Relationship Id="rId21" Type="http://schemas.openxmlformats.org/officeDocument/2006/relationships/tableStyles" Target="tableStyles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85012285012289E-2"/>
          <c:y val="2.9673590504451126E-2"/>
          <c:w val="0.97542997542997734"/>
          <c:h val="0.8100890207715133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5</c:v>
                </c:pt>
                <c:pt idx="1">
                  <c:v>45</c:v>
                </c:pt>
                <c:pt idx="2">
                  <c:v>8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BF-4FDA-B05E-684B739100F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548771368"/>
        <c:axId val="548771760"/>
      </c:barChart>
      <c:catAx>
        <c:axId val="54877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002266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4877176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487717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548771368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8FA3CA-5725-4BA7-A851-72A62AC5A8EE}" type="datetimeFigureOut">
              <a:rPr lang="en-CA" smtClean="0"/>
              <a:pPr/>
              <a:t>2017-06-07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873CA4-7EF9-467F-99BD-6DDCB9451CF6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75470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B58700-9FA2-48CE-AC88-D71D45EB490A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BC4E5-2BC1-4F43-85DD-A1B8F74CB7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04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'1.0' encoding='UTF-8' standalone='yes'?>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'1.0' encoding='UTF-8' standalone='yes'?>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'1.0' encoding='UTF-8' standalone='yes'?>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'1.0' encoding='UTF-8' standalone='yes'?>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'1.0' encoding='UTF-8' standalone='yes'?>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'1.0' encoding='UTF-8' standalone='yes'?>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'1.0' encoding='UTF-8' standalone='yes'?>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'1.0' encoding='UTF-8' standalone='yes'?>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1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Let’s try this ourselves:</a:t>
            </a:r>
          </a:p>
          <a:p>
            <a:r>
              <a:rPr lang="en-US" b="0" dirty="0"/>
              <a:t>Use</a:t>
            </a:r>
            <a:r>
              <a:rPr lang="en-US" b="0" baseline="0" dirty="0"/>
              <a:t> the QPT Color Picker to correct the colors in the title, sub-title, text, and the value-chain. Remember not to use more than 4 colors in a presentation.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316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236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b="0" baseline="0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45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64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6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u="non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875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380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559077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'1.0' encoding='UTF-8' standalone='yes'?>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82240" y="9434"/>
            <a:ext cx="3787341" cy="6570001"/>
          </a:xfrm>
          <a:prstGeom prst="rect">
            <a:avLst/>
          </a:prstGeom>
          <a:noFill/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848099"/>
            <a:ext cx="4024312" cy="98070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Title Slide Head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949825"/>
            <a:ext cx="3738563" cy="282387"/>
          </a:xfrm>
        </p:spPr>
        <p:txBody>
          <a:bodyPr>
            <a:norm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Placeholder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5701703" y="682760"/>
            <a:ext cx="3074395" cy="206044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 userDrawn="1"/>
        </p:nvGrpSpPr>
        <p:grpSpPr>
          <a:xfrm>
            <a:off x="459321" y="5788818"/>
            <a:ext cx="2183716" cy="635721"/>
            <a:chOff x="459321" y="5788818"/>
            <a:chExt cx="2183716" cy="635721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3" name="Freeform 22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cxnSp>
        <p:nvCxnSpPr>
          <p:cNvPr id="25" name="Straight Connector 24"/>
          <p:cNvCxnSpPr/>
          <p:nvPr userDrawn="1"/>
        </p:nvCxnSpPr>
        <p:spPr>
          <a:xfrm>
            <a:off x="457200" y="6570921"/>
            <a:ext cx="868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805" y="6289705"/>
            <a:ext cx="3439563" cy="16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48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3910061"/>
            <a:ext cx="4203700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6938" y="1969"/>
            <a:ext cx="4417062" cy="68540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9944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10061"/>
            <a:ext cx="8228013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359858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02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005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29388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4" Type="http://schemas.openxmlformats.org/officeDocument/2006/relationships/slideLayout" Target="../slideLayouts/slideLayout4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2" name="AcnSubjectTitle_ID_2" hidden="1"/>
          <p:cNvSpPr txBox="1"/>
          <p:nvPr userDrawn="1">
            <p:custDataLst>
              <p:tags r:id="rId11"/>
            </p:custDataLst>
          </p:nvPr>
        </p:nvSpPr>
        <p:spPr bwMode="gray">
          <a:xfrm>
            <a:off x="461035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GB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4" name="AcnFootnote_ID_4" hidden="1"/>
          <p:cNvSpPr txBox="1"/>
          <p:nvPr userDrawn="1">
            <p:custDataLst>
              <p:tags r:id="rId12"/>
            </p:custDataLst>
          </p:nvPr>
        </p:nvSpPr>
        <p:spPr bwMode="gray">
          <a:xfrm>
            <a:off x="461035" y="6254750"/>
            <a:ext cx="8205261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 defTabSz="914400" rtl="0" eaLnBrk="1" latinLnBrk="0" hangingPunct="1">
              <a:buNone/>
            </a:pPr>
            <a:r>
              <a:rPr lang="en-GB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 defTabSz="914400" rtl="0" eaLnBrk="1" latinLnBrk="0" hangingPunct="1">
              <a:spcBef>
                <a:spcPct val="20000"/>
              </a:spcBef>
              <a:buNone/>
            </a:pPr>
            <a:r>
              <a:rPr lang="en-GB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48153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8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2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0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4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'1.0' encoding='UTF-8' standalone='yes'?>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'1.0' encoding='UTF-8' standalone='yes'?>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6.xml.rels><?xml version='1.0' encoding='UTF-8' standalone='yes'?>
<Relationships xmlns="http://schemas.openxmlformats.org/package/2006/relationships"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Quick Presentation Toolkit 8.4</a:t>
            </a:r>
          </a:p>
        </p:txBody>
      </p:sp>
    </p:spTree>
    <p:extLst>
      <p:ext uri="{BB962C8B-B14F-4D97-AF65-F5344CB8AC3E}">
        <p14:creationId xmlns:p14="http://schemas.microsoft.com/office/powerpoint/2010/main" val="884005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Let’s try this ourselves!</a:t>
            </a:r>
          </a:p>
          <a:p>
            <a:pPr lvl="1"/>
            <a:r>
              <a:rPr lang="en-US"/>
              <a:t>The colors on this slide are way off. Help me correct them to meet Accenture Brand Standards!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Right Colors in Your Presentation</a:t>
            </a:r>
          </a:p>
        </p:txBody>
      </p:sp>
      <p:sp>
        <p:nvSpPr>
          <p:cNvPr id="5" name="Chevron 4"/>
          <p:cNvSpPr/>
          <p:nvPr/>
        </p:nvSpPr>
        <p:spPr>
          <a:xfrm>
            <a:off x="1691640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88DD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3485562" y="3566160"/>
            <a:ext cx="2020476" cy="1676400"/>
          </a:xfrm>
          <a:prstGeom prst="chevron">
            <a:avLst>
              <a:gd name="adj" fmla="val 20165"/>
            </a:avLst>
          </a:prstGeom>
          <a:solidFill>
            <a:srgbClr val="9933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5279485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00BBEE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1187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Use a Visual from the library to plot the following data on the most appropriate graph.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b="1" dirty="0"/>
              <a:t>Productivity with QPT</a:t>
            </a:r>
          </a:p>
          <a:p>
            <a:pPr marL="0" lvl="1" indent="0">
              <a:buNone/>
            </a:pPr>
            <a:r>
              <a:rPr lang="en-US" dirty="0"/>
              <a:t>Week 1 – 25%</a:t>
            </a:r>
          </a:p>
          <a:p>
            <a:pPr marL="0" lvl="1" indent="0">
              <a:buNone/>
            </a:pPr>
            <a:r>
              <a:rPr lang="en-US" dirty="0"/>
              <a:t>Week 2 – 45%</a:t>
            </a:r>
          </a:p>
          <a:p>
            <a:pPr marL="0" lvl="1" indent="0">
              <a:buNone/>
            </a:pPr>
            <a:r>
              <a:rPr lang="en-US" dirty="0"/>
              <a:t>Week 3 – 80%</a:t>
            </a:r>
          </a:p>
          <a:p>
            <a:pPr marL="0" lvl="1" indent="0">
              <a:buNone/>
            </a:pPr>
            <a:r>
              <a:rPr lang="en-US" dirty="0"/>
              <a:t>Week 4 – 100%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y of Visuals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6EF3E15-F4EC-4016-A04A-8270DD893D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4540460"/>
              </p:ext>
            </p:extLst>
          </p:nvPr>
        </p:nvGraphicFramePr>
        <p:xfrm>
          <a:off x="3000574" y="3067980"/>
          <a:ext cx="5449744" cy="284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22738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31977"/>
            <a:ext cx="4324835" cy="801623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ge Text</a:t>
            </a:r>
          </a:p>
        </p:txBody>
      </p:sp>
      <p:sp>
        <p:nvSpPr>
          <p:cNvPr id="5" name="TextBox 12"/>
          <p:cNvSpPr txBox="1">
            <a:spLocks noChangeArrowheads="1"/>
          </p:cNvSpPr>
          <p:nvPr/>
        </p:nvSpPr>
        <p:spPr bwMode="auto">
          <a:xfrm>
            <a:off x="679088" y="2259799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</a:t>
            </a:r>
            <a:r>
              <a:rPr lang="en-US" i="1">
                <a:solidFill>
                  <a:srgbClr val="FF0000"/>
                </a:solidFill>
              </a:rPr>
              <a:t>boxes.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6" name="TextBox 13"/>
          <p:cNvSpPr txBox="1">
            <a:spLocks noChangeArrowheads="1"/>
          </p:cNvSpPr>
          <p:nvPr/>
        </p:nvSpPr>
        <p:spPr bwMode="auto">
          <a:xfrm>
            <a:off x="679088" y="2965994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7" name="TextBox 14"/>
          <p:cNvSpPr txBox="1">
            <a:spLocks noChangeArrowheads="1"/>
          </p:cNvSpPr>
          <p:nvPr/>
        </p:nvSpPr>
        <p:spPr bwMode="auto">
          <a:xfrm>
            <a:off x="679088" y="4044194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  <p:sp>
        <p:nvSpPr>
          <p:cNvPr id="9" name="Left Arrow 8"/>
          <p:cNvSpPr/>
          <p:nvPr/>
        </p:nvSpPr>
        <p:spPr>
          <a:xfrm rot="10800000">
            <a:off x="4313144" y="3301855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5432517" y="2248537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boxes.</a:t>
            </a:r>
          </a:p>
        </p:txBody>
      </p:sp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5432517" y="2954732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11" name="TextBox 14"/>
          <p:cNvSpPr txBox="1">
            <a:spLocks noChangeArrowheads="1"/>
          </p:cNvSpPr>
          <p:nvPr/>
        </p:nvSpPr>
        <p:spPr bwMode="auto">
          <a:xfrm>
            <a:off x="5432517" y="4032932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</p:spTree>
    <p:extLst>
      <p:ext uri="{BB962C8B-B14F-4D97-AF65-F5344CB8AC3E}">
        <p14:creationId xmlns:p14="http://schemas.microsoft.com/office/powerpoint/2010/main" val="379443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3933936" cy="650875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 Lines to Shapes</a:t>
            </a:r>
          </a:p>
        </p:txBody>
      </p:sp>
      <p:sp>
        <p:nvSpPr>
          <p:cNvPr id="4" name="AcnBodyText_ID_11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34204" y="2693665"/>
            <a:ext cx="2871399" cy="228370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It is very important that you have at least three lines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Click on the Convert Lines to Shapes icon in the Text Format Group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The text box will be separated into separate text boxes depending on the number of lines that you had in the original text box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QPT is awesome!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" name="Left Arrow 4"/>
          <p:cNvSpPr/>
          <p:nvPr/>
        </p:nvSpPr>
        <p:spPr>
          <a:xfrm rot="10800000">
            <a:off x="3922245" y="3603570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728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5479151" cy="7089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ch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2333505" y="316635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1612780" y="3166350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892055" y="3166350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5520" y="2379880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Lef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05520" y="2266526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gray">
          <a:xfrm>
            <a:off x="4897035" y="461957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4897035" y="4125857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4897035" y="3632144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21783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Up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557487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3248717" y="5261396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gray">
          <a:xfrm>
            <a:off x="2527992" y="5261396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gray">
          <a:xfrm>
            <a:off x="1807267" y="5261396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5520" y="4474926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Right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05520" y="4361572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gray">
          <a:xfrm>
            <a:off x="7132047" y="5197404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7132047" y="4703691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7132047" y="4209978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970208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Down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6785822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6352" y="2925232"/>
            <a:ext cx="37752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973" y="2893155"/>
            <a:ext cx="328280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809" y="4492819"/>
            <a:ext cx="344694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577" y="2373743"/>
            <a:ext cx="36036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947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93313" cy="12314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Apply the fill color and line style of the first object to the second objec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PT Format Painter</a:t>
            </a:r>
          </a:p>
        </p:txBody>
      </p:sp>
      <p:sp>
        <p:nvSpPr>
          <p:cNvPr id="4" name="Rectangle 3"/>
          <p:cNvSpPr/>
          <p:nvPr/>
        </p:nvSpPr>
        <p:spPr>
          <a:xfrm>
            <a:off x="406399" y="3063240"/>
            <a:ext cx="4005943" cy="2137410"/>
          </a:xfrm>
          <a:prstGeom prst="rect">
            <a:avLst/>
          </a:prstGeom>
          <a:solidFill>
            <a:srgbClr val="993399"/>
          </a:solidFill>
          <a:ln w="76200">
            <a:solidFill>
              <a:srgbClr val="88DD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latin typeface="Centaur" pitchFamily="18" charset="0"/>
              </a:rPr>
              <a:t>New Presentations</a:t>
            </a:r>
          </a:p>
        </p:txBody>
      </p:sp>
      <p:sp>
        <p:nvSpPr>
          <p:cNvPr id="6" name="Rectangle 5"/>
          <p:cNvSpPr/>
          <p:nvPr/>
        </p:nvSpPr>
        <p:spPr>
          <a:xfrm>
            <a:off x="4559567" y="3038021"/>
            <a:ext cx="3489560" cy="1506955"/>
          </a:xfrm>
          <a:prstGeom prst="rect">
            <a:avLst/>
          </a:prstGeom>
          <a:solidFill>
            <a:srgbClr val="666666"/>
          </a:solidFill>
          <a:ln w="76200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Old Presentations</a:t>
            </a:r>
          </a:p>
        </p:txBody>
      </p:sp>
    </p:spTree>
    <p:extLst>
      <p:ext uri="{BB962C8B-B14F-4D97-AF65-F5344CB8AC3E}">
        <p14:creationId xmlns:p14="http://schemas.microsoft.com/office/powerpoint/2010/main" val="783448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35256" cy="10282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Make the following shapes the same height and width as the rectang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ight and Width</a:t>
            </a:r>
          </a:p>
        </p:txBody>
      </p:sp>
      <p:sp>
        <p:nvSpPr>
          <p:cNvPr id="4" name="Rectangle 3"/>
          <p:cNvSpPr/>
          <p:nvPr/>
        </p:nvSpPr>
        <p:spPr>
          <a:xfrm>
            <a:off x="1321646" y="2788072"/>
            <a:ext cx="2049780" cy="1766993"/>
          </a:xfrm>
          <a:prstGeom prst="rect">
            <a:avLst/>
          </a:prstGeom>
          <a:solidFill>
            <a:srgbClr val="00BBEE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657600" y="3367615"/>
            <a:ext cx="2049780" cy="1766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gular Pentagon 8"/>
          <p:cNvSpPr/>
          <p:nvPr/>
        </p:nvSpPr>
        <p:spPr>
          <a:xfrm>
            <a:off x="5966460" y="3643205"/>
            <a:ext cx="2049780" cy="1766993"/>
          </a:xfrm>
          <a:prstGeom prst="pentagon">
            <a:avLst/>
          </a:prstGeom>
          <a:solidFill>
            <a:srgbClr val="99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392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309428" cy="14201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Create Harvey Balls that correspond to the percentage of each status item. Also, recolour the Harvey Balls so they are purple (yes you can easily recolour Harvey Balls now too!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 Ball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684993"/>
              </p:ext>
            </p:extLst>
          </p:nvPr>
        </p:nvGraphicFramePr>
        <p:xfrm>
          <a:off x="506755" y="3004185"/>
          <a:ext cx="8205261" cy="220936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9280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9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78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FY15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</a:rPr>
                        <a:t>Percent</a:t>
                      </a: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 Complete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2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25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3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5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4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7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64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1"/>
  <p:tag name="TEXTBOXCUSTOMFORMAT" val="Yes"/>
  <p:tag name="STICKYNOTESBACKCOLOR" val="16777215"/>
  <p:tag name="STICKYNOTESFORECOLOR" val="65535"/>
  <p:tag name="STICKYNOTESFONTSIZE" val="14"/>
  <p:tag name="STICKYNOTESFONTSTYLE" val="Arial"/>
  <p:tag name="STICKYNOTESFONTCOLOR" val="0"/>
  <p:tag name="STICKYNOTESLEFT" val="247.3333"/>
  <p:tag name="STICKYNOTESTOP" val="383.6667"/>
  <p:tag name="STICKYNOTESWIDTH" val="150"/>
  <p:tag name="STICKYNOTESHEIGHT" val="150"/>
  <p:tag name="STICKYNOTESLIMEBACKCOLOR" val="16777215"/>
  <p:tag name="STICKYNOTESLINEFORECOLOR" val="16777215"/>
  <p:tag name="STICKYNOTESLINESTYLE" val="-2"/>
  <p:tag name="STICKYNOTESLINETRANSPARENCY" val="-2.147484E+09"/>
  <p:tag name="STICKYNOTESLINEWEIGHT" val="-2.147484E+09"/>
  <p:tag name="THINKCELLUNDODONOTDELETE" val="5"/>
  <p:tag name="PAGENUMBER" val="1"/>
  <p:tag name="AGENDAHEIGHT" val="295.574961853027"/>
  <p:tag name="TEXTBOX" val="uyfku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8/31/2010 11:10:01 A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03/09/2013 13:09: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3/09/2013 13:09: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heme/theme1.xml><?xml version="1.0" encoding="utf-8"?>
<a:theme xmlns:a="http://schemas.openxmlformats.org/drawingml/2006/main" name="Accenture Management Consulting Blue Beaker">
  <a:themeElements>
    <a:clrScheme name="AMC Blue Beak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0BBEE"/>
      </a:accent1>
      <a:accent2>
        <a:srgbClr val="88DD00"/>
      </a:accent2>
      <a:accent3>
        <a:srgbClr val="CCBB88"/>
      </a:accent3>
      <a:accent4>
        <a:srgbClr val="993399"/>
      </a:accent4>
      <a:accent5>
        <a:srgbClr val="999977"/>
      </a:accent5>
      <a:accent6>
        <a:srgbClr val="CCBB88"/>
      </a:accent6>
      <a:hlink>
        <a:srgbClr val="00BBEE"/>
      </a:hlink>
      <a:folHlink>
        <a:srgbClr val="993399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CB9DADEC4C6543849A81C755154687" ma:contentTypeVersion="4" ma:contentTypeDescription="Create a new document." ma:contentTypeScope="" ma:versionID="a5bd203c9fd31acde13513872fc6c069">
  <xsd:schema xmlns:xsd="http://www.w3.org/2001/XMLSchema" xmlns:xs="http://www.w3.org/2001/XMLSchema" xmlns:p="http://schemas.microsoft.com/office/2006/metadata/properties" xmlns:ns2="179acbcf-c33d-4684-8f70-46b0e9fe5580" targetNamespace="http://schemas.microsoft.com/office/2006/metadata/properties" ma:root="true" ma:fieldsID="f2506c506a9bfcd2de46e4044fc7ed6d" ns2:_="">
    <xsd:import namespace="179acbcf-c33d-4684-8f70-46b0e9fe558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acbcf-c33d-4684-8f70-46b0e9fe55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B2C3925-A48B-467B-A0DB-67F84F559B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DA66F2-A336-480E-99DC-FB2EC41945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9acbcf-c33d-4684-8f70-46b0e9fe55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20674B-043A-4BF8-801D-C94F9BC22BEE}">
  <ds:schemaRefs>
    <ds:schemaRef ds:uri="http://purl.org/dc/elements/1.1/"/>
    <ds:schemaRef ds:uri="http://schemas.microsoft.com/office/2006/metadata/properties"/>
    <ds:schemaRef ds:uri="179acbcf-c33d-4684-8f70-46b0e9fe5580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4x3_Template</Template>
  <TotalTime>5938</TotalTime>
  <Words>412</Words>
  <Application>Microsoft Office PowerPoint</Application>
  <PresentationFormat>On-screen Show (4:3)</PresentationFormat>
  <Paragraphs>77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ell MT</vt:lpstr>
      <vt:lpstr>Berlin Sans FB</vt:lpstr>
      <vt:lpstr>Calibri</vt:lpstr>
      <vt:lpstr>Centaur</vt:lpstr>
      <vt:lpstr>Wingdings</vt:lpstr>
      <vt:lpstr>Accenture Management Consulting Blue Beaker</vt:lpstr>
      <vt:lpstr>PowerPoint Presentation</vt:lpstr>
      <vt:lpstr>Use the Right Colors in Your Presentation</vt:lpstr>
      <vt:lpstr>Library of Visuals</vt:lpstr>
      <vt:lpstr>Merge Text</vt:lpstr>
      <vt:lpstr>Convert Lines to Shapes</vt:lpstr>
      <vt:lpstr>Touch</vt:lpstr>
      <vt:lpstr>QPT Format Painter</vt:lpstr>
      <vt:lpstr>Height and Width</vt:lpstr>
      <vt:lpstr>Harvey Balls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ick Presentation Toolkit (QPT) Demo Guide</dc:title>
  <dc:creator>QPT</dc:creator>
  <dc:description>can we parse this</dc:description>
  <cp:lastModifiedBy>Bui, Brandon</cp:lastModifiedBy>
  <cp:revision>183</cp:revision>
  <dcterms:created xsi:type="dcterms:W3CDTF">2012-03-12T20:10:30Z</dcterms:created>
  <dcterms:modified xsi:type="dcterms:W3CDTF">2017-06-08T01:2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DH_PPT_012012_LEO</vt:lpwstr>
  </property>
  <property fmtid="{D5CDD505-2E9C-101B-9397-08002B2CF9AE}" pid="4" name="ArticulateGUID">
    <vt:lpwstr>AAA9661D-BB09-40B4-9621-E5DD34F7073B</vt:lpwstr>
  </property>
  <property fmtid="{D5CDD505-2E9C-101B-9397-08002B2CF9AE}" pid="5" name="ArticulateProjectFull">
    <vt:lpwstr>F:\PROJECTS\JohnsonBeesley\Accenture\Accenture_PPT_020412_LEO.ppta</vt:lpwstr>
  </property>
  <property fmtid="{D5CDD505-2E9C-101B-9397-08002B2CF9AE}" pid="6" name="ContentTypeId">
    <vt:lpwstr>0x0101008FCB9DADEC4C6543849A81C755154687</vt:lpwstr>
  </property>
  <property fmtid="{D5CDD505-2E9C-101B-9397-08002B2CF9AE}" pid="7" name="_dlc_DocIdItemGuid">
    <vt:lpwstr>1de8bfce-19e7-4615-b31e-144877de9f22</vt:lpwstr>
  </property>
</Properties>
</file>